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6" r:id="rId3"/>
    <p:sldId id="2146847067" r:id="rId4"/>
    <p:sldId id="2146846799" r:id="rId5"/>
    <p:sldId id="2146847063" r:id="rId6"/>
    <p:sldId id="2146847078" r:id="rId7"/>
    <p:sldId id="2146847089" r:id="rId8"/>
    <p:sldId id="2146847054" r:id="rId9"/>
    <p:sldId id="2146846791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03"/>
    <p:restoredTop sz="89946"/>
  </p:normalViewPr>
  <p:slideViewPr>
    <p:cSldViewPr snapToGrid="0" snapToObjects="1">
      <p:cViewPr>
        <p:scale>
          <a:sx n="183" d="100"/>
          <a:sy n="183" d="100"/>
        </p:scale>
        <p:origin x="1568" y="40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421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662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27226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0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hyperlink" Target="https://ibm.ent.box.com/s/s6gj05hjc7h0zyvpykc32r71i3xr2ilb" TargetMode="Externa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proactive-outage-avoidanc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3.jp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3.jp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CAQ_a2-9UOI" TargetMode="External"/><Relationship Id="rId3" Type="http://schemas.openxmlformats.org/officeDocument/2006/relationships/image" Target="../media/image14.jpg"/><Relationship Id="rId7" Type="http://schemas.openxmlformats.org/officeDocument/2006/relationships/hyperlink" Target="https://www.youtube.com/watch?v=ph8p-eP9Y90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mediacenter.ibm.com/media/Incident%20Management%20Doesn%E2%80%99t%20Have%20to%20Be%20a%20Headache/1_cifk5wwo" TargetMode="External"/><Relationship Id="rId5" Type="http://schemas.openxmlformats.org/officeDocument/2006/relationships/hyperlink" Target="https://www.youtube.com/watch?v=XbYKAJc5jhg" TargetMode="External"/><Relationship Id="rId4" Type="http://schemas.openxmlformats.org/officeDocument/2006/relationships/hyperlink" Target="https://www.ibm.com/cloud/blog/aiops-a-path-to-reliability-at-cloud-scal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-19305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active outage</a:t>
            </a:r>
            <a:b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voidance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able 8">
            <a:extLst>
              <a:ext uri="{FF2B5EF4-FFF2-40B4-BE49-F238E27FC236}">
                <a16:creationId xmlns:a16="http://schemas.microsoft.com/office/drawing/2014/main" id="{3C57B03B-05BF-FD5B-2432-F0BA3E9CEF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724176"/>
              </p:ext>
            </p:extLst>
          </p:nvPr>
        </p:nvGraphicFramePr>
        <p:xfrm>
          <a:off x="228665" y="692448"/>
          <a:ext cx="8705023" cy="30784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019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8483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active outage avoidance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web application to illustrate how the Cloud Pak for Watson AIOps helps proactively identify, diagnose, and resolve incidents across mission-critical workloads.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Watson AIOp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maly detection; Event grouping; Automated remedi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Watson AIOps 3.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/collection/platinum-demos-proactive-outage-avoidanc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5"/>
                        </a:rPr>
                        <a:t>https://ibm.ent.box.com/s/s6gj05hjc7h0zyvpykc32r71i3xr2ilb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9061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9F280797-7E36-EE26-4600-D62A23A7D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26246" y="3690248"/>
            <a:ext cx="7052841" cy="127049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8E1C930-AE1B-ABBA-F723-971C3B41DA11}"/>
              </a:ext>
            </a:extLst>
          </p:cNvPr>
          <p:cNvSpPr txBox="1"/>
          <p:nvPr/>
        </p:nvSpPr>
        <p:spPr>
          <a:xfrm>
            <a:off x="1725778" y="4745300"/>
            <a:ext cx="705284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Watson AIOps 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04B318B-5570-D0E3-F74E-540CE38B9697}"/>
              </a:ext>
            </a:extLst>
          </p:cNvPr>
          <p:cNvGrpSpPr/>
          <p:nvPr/>
        </p:nvGrpSpPr>
        <p:grpSpPr>
          <a:xfrm>
            <a:off x="4628976" y="3795159"/>
            <a:ext cx="1975104" cy="942625"/>
            <a:chOff x="4255980" y="3836021"/>
            <a:chExt cx="1975104" cy="942625"/>
          </a:xfrm>
        </p:grpSpPr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49D05F03-B4B0-3917-EFBE-4E726EC164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255980" y="3836021"/>
              <a:ext cx="1975104" cy="9426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 grouping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0D2CBEA-D71E-9622-96B1-7F573D13B1F1}"/>
                </a:ext>
              </a:extLst>
            </p:cNvPr>
            <p:cNvGrpSpPr/>
            <p:nvPr/>
          </p:nvGrpSpPr>
          <p:grpSpPr>
            <a:xfrm>
              <a:off x="4344944" y="4214637"/>
              <a:ext cx="1797177" cy="371106"/>
              <a:chOff x="4451258" y="4214637"/>
              <a:chExt cx="1797177" cy="371106"/>
            </a:xfrm>
          </p:grpSpPr>
          <p:sp>
            <p:nvSpPr>
              <p:cNvPr id="35" name="Rectangle 3">
                <a:extLst>
                  <a:ext uri="{FF2B5EF4-FFF2-40B4-BE49-F238E27FC236}">
                    <a16:creationId xmlns:a16="http://schemas.microsoft.com/office/drawing/2014/main" id="{99944091-C422-C8D6-5772-A08CF5659DF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370611" y="4214637"/>
                <a:ext cx="877824" cy="3711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vent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alytics</a:t>
                </a:r>
              </a:p>
            </p:txBody>
          </p:sp>
          <p:sp>
            <p:nvSpPr>
              <p:cNvPr id="36" name="Rectangle 3">
                <a:extLst>
                  <a:ext uri="{FF2B5EF4-FFF2-40B4-BE49-F238E27FC236}">
                    <a16:creationId xmlns:a16="http://schemas.microsoft.com/office/drawing/2014/main" id="{412EEDDB-8C8D-A976-159A-5E902C5C9F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51258" y="4214637"/>
                <a:ext cx="877824" cy="3711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vent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relation</a:t>
                </a: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1EC50C8-F9EC-B52F-1C4E-47840AA9079D}"/>
              </a:ext>
            </a:extLst>
          </p:cNvPr>
          <p:cNvGrpSpPr/>
          <p:nvPr/>
        </p:nvGrpSpPr>
        <p:grpSpPr>
          <a:xfrm>
            <a:off x="1843577" y="3795160"/>
            <a:ext cx="2695674" cy="942625"/>
            <a:chOff x="1408671" y="3844178"/>
            <a:chExt cx="2695674" cy="942625"/>
          </a:xfrm>
        </p:grpSpPr>
        <p:sp>
          <p:nvSpPr>
            <p:cNvPr id="38" name="Rectangle 3">
              <a:extLst>
                <a:ext uri="{FF2B5EF4-FFF2-40B4-BE49-F238E27FC236}">
                  <a16:creationId xmlns:a16="http://schemas.microsoft.com/office/drawing/2014/main" id="{A0335288-BD83-3BEE-A336-CC9D1D75B1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408671" y="3844178"/>
              <a:ext cx="2695674" cy="9426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ident analysis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3E717FA-3145-3C13-5A15-A436CD5F46DA}"/>
                </a:ext>
              </a:extLst>
            </p:cNvPr>
            <p:cNvGrpSpPr/>
            <p:nvPr/>
          </p:nvGrpSpPr>
          <p:grpSpPr>
            <a:xfrm>
              <a:off x="1522271" y="4214637"/>
              <a:ext cx="2468474" cy="374903"/>
              <a:chOff x="1567956" y="4199747"/>
              <a:chExt cx="2468474" cy="374903"/>
            </a:xfrm>
          </p:grpSpPr>
          <p:sp>
            <p:nvSpPr>
              <p:cNvPr id="40" name="Rectangle 3">
                <a:extLst>
                  <a:ext uri="{FF2B5EF4-FFF2-40B4-BE49-F238E27FC236}">
                    <a16:creationId xmlns:a16="http://schemas.microsoft.com/office/drawing/2014/main" id="{647579E0-0EE8-0A27-5BC8-EB648AF5CE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242271" y="4199747"/>
                <a:ext cx="794159" cy="37490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pology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alytics</a:t>
                </a:r>
              </a:p>
            </p:txBody>
          </p:sp>
          <p:sp>
            <p:nvSpPr>
              <p:cNvPr id="41" name="Rectangle 3">
                <a:extLst>
                  <a:ext uri="{FF2B5EF4-FFF2-40B4-BE49-F238E27FC236}">
                    <a16:creationId xmlns:a16="http://schemas.microsoft.com/office/drawing/2014/main" id="{4506093F-7786-E7C1-BDD6-155B2538CE5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405146" y="4199747"/>
                <a:ext cx="795528" cy="37490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omaly 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tection</a:t>
                </a:r>
              </a:p>
            </p:txBody>
          </p:sp>
          <p:sp>
            <p:nvSpPr>
              <p:cNvPr id="42" name="Rectangle 3">
                <a:extLst>
                  <a:ext uri="{FF2B5EF4-FFF2-40B4-BE49-F238E27FC236}">
                    <a16:creationId xmlns:a16="http://schemas.microsoft.com/office/drawing/2014/main" id="{623171B4-BB5D-9B1E-2AE8-07CA9B4F1D7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567956" y="4199748"/>
                <a:ext cx="794160" cy="37490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atOps</a:t>
                </a: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llaboration</a:t>
                </a: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2DC50EF-2C30-2E4A-83EB-07A8513380A5}"/>
              </a:ext>
            </a:extLst>
          </p:cNvPr>
          <p:cNvGrpSpPr/>
          <p:nvPr/>
        </p:nvGrpSpPr>
        <p:grpSpPr>
          <a:xfrm>
            <a:off x="6691433" y="3795158"/>
            <a:ext cx="1977580" cy="942625"/>
            <a:chOff x="6703371" y="3844176"/>
            <a:chExt cx="1977580" cy="942625"/>
          </a:xfrm>
        </p:grpSpPr>
        <p:sp>
          <p:nvSpPr>
            <p:cNvPr id="44" name="Rectangle 3">
              <a:extLst>
                <a:ext uri="{FF2B5EF4-FFF2-40B4-BE49-F238E27FC236}">
                  <a16:creationId xmlns:a16="http://schemas.microsoft.com/office/drawing/2014/main" id="{5238BF79-7AD7-1597-E490-1E6E86E7D4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703371" y="3844176"/>
              <a:ext cx="1977580" cy="9426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ed remediation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08D67-B6F3-484E-7F86-9CB54E327D7B}"/>
                </a:ext>
              </a:extLst>
            </p:cNvPr>
            <p:cNvGrpSpPr/>
            <p:nvPr/>
          </p:nvGrpSpPr>
          <p:grpSpPr>
            <a:xfrm>
              <a:off x="6793573" y="4214637"/>
              <a:ext cx="1797177" cy="371106"/>
              <a:chOff x="4451258" y="4214637"/>
              <a:chExt cx="1797177" cy="371106"/>
            </a:xfrm>
          </p:grpSpPr>
          <p:sp>
            <p:nvSpPr>
              <p:cNvPr id="46" name="Rectangle 3">
                <a:extLst>
                  <a:ext uri="{FF2B5EF4-FFF2-40B4-BE49-F238E27FC236}">
                    <a16:creationId xmlns:a16="http://schemas.microsoft.com/office/drawing/2014/main" id="{6542A02E-A950-8E1D-48E8-A10CF75D084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370611" y="4214637"/>
                <a:ext cx="877824" cy="3711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unbooks</a:t>
                </a:r>
              </a:p>
            </p:txBody>
          </p:sp>
          <p:sp>
            <p:nvSpPr>
              <p:cNvPr id="47" name="Rectangle 3">
                <a:extLst>
                  <a:ext uri="{FF2B5EF4-FFF2-40B4-BE49-F238E27FC236}">
                    <a16:creationId xmlns:a16="http://schemas.microsoft.com/office/drawing/2014/main" id="{5FE57E63-57B4-9578-1D55-5E621C91F0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451258" y="4214637"/>
                <a:ext cx="877824" cy="3711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commendation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98140DAC-A9B5-2943-B2CE-FE5B249B82CA}"/>
              </a:ext>
            </a:extLst>
          </p:cNvPr>
          <p:cNvSpPr txBox="1"/>
          <p:nvPr/>
        </p:nvSpPr>
        <p:spPr>
          <a:xfrm>
            <a:off x="1725778" y="3470956"/>
            <a:ext cx="70528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</p:spTree>
    <p:extLst>
      <p:ext uri="{BB962C8B-B14F-4D97-AF65-F5344CB8AC3E}">
        <p14:creationId xmlns:p14="http://schemas.microsoft.com/office/powerpoint/2010/main" val="3655038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picture containing blur&#10;&#10;Description automatically generated">
            <a:extLst>
              <a:ext uri="{FF2B5EF4-FFF2-40B4-BE49-F238E27FC236}">
                <a16:creationId xmlns:a16="http://schemas.microsoft.com/office/drawing/2014/main" id="{555556D2-BAFB-3C6F-5D98-078503CEF84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41" name="Picture 40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BD0FA9A-283A-3B63-A6D5-A3117EA57C50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82695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137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5779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BF4DBEB-A4B8-C3E7-DE42-3B0978D563C6}"/>
              </a:ext>
            </a:extLst>
          </p:cNvPr>
          <p:cNvGrpSpPr/>
          <p:nvPr/>
        </p:nvGrpSpPr>
        <p:grpSpPr>
          <a:xfrm>
            <a:off x="2602618" y="4147529"/>
            <a:ext cx="5739305" cy="483254"/>
            <a:chOff x="2602618" y="4173469"/>
            <a:chExt cx="5739305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990032F-438D-7B4D-92E0-87BE922C0EE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062C80D-D612-5B40-84ED-64EB1151A7B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omaly detectio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 grouping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ed remediation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0" name="Straight Connector 1">
            <a:extLst>
              <a:ext uri="{FF2B5EF4-FFF2-40B4-BE49-F238E27FC236}">
                <a16:creationId xmlns:a16="http://schemas.microsoft.com/office/drawing/2014/main" id="{CFFD11C6-40D5-8744-BCD9-1D163DBAE2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5400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F7ED55D-7262-BE46-949C-2A55A55058B7}"/>
              </a:ext>
            </a:extLst>
          </p:cNvPr>
          <p:cNvGrpSpPr/>
          <p:nvPr/>
        </p:nvGrpSpPr>
        <p:grpSpPr>
          <a:xfrm>
            <a:off x="1128018" y="1116715"/>
            <a:ext cx="6887965" cy="2631953"/>
            <a:chOff x="3380708" y="1094697"/>
            <a:chExt cx="5191641" cy="2631953"/>
          </a:xfrm>
        </p:grpSpPr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046E5227-7587-4A4A-B7F8-0D229CCFA8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380708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BrainPower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Interactive uses AIOps to watch for impending outage situations in their Kubernetes-based microservices application.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1368E9F0-2EAA-9C46-BB55-AC42C319F7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102177" y="3068282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team executes the recommended runbook, which avoids an outage. After looking at performance metrics in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verify the issue is resolved, the IT Ops team closes out the incident.</a:t>
              </a:r>
            </a:p>
          </p:txBody>
        </p:sp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9792DDD3-D551-A840-92A5-D74BFA89D9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28443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IT Ops team observes that the service’s memory and CPU usage are up sharply. They identify prior similar incidents and find a runbook that has been used previously to fix the problem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D5A62864-4A68-D74F-A9F2-C6AF5FEB13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4711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When AIOps notices an emerging issue on the ‘Rating’ service, it notifies the IT Ops team and provides a single view of all relevant anomalies and alert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8907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C1FE1B96-BE37-F6F5-49E7-26222ED930D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301829D-6991-8751-8FE7-5B58EAE2AF74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4ACDEB-5196-AB62-C279-49753D8A2A31}"/>
              </a:ext>
            </a:extLst>
          </p:cNvPr>
          <p:cNvGrpSpPr/>
          <p:nvPr/>
        </p:nvGrpSpPr>
        <p:grpSpPr>
          <a:xfrm>
            <a:off x="1243187" y="769448"/>
            <a:ext cx="6657626" cy="1699660"/>
            <a:chOff x="1295967" y="769448"/>
            <a:chExt cx="6657626" cy="169966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1295967" y="769448"/>
              <a:ext cx="1751487" cy="1699660"/>
              <a:chOff x="92809" y="3105854"/>
              <a:chExt cx="2238978" cy="1699660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92809" y="3105854"/>
                <a:ext cx="2238976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imulate a failure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92810" y="3632637"/>
                <a:ext cx="2238977" cy="1172877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nerate an 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omaly in the   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mple app to 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ject a failure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3749043" y="774289"/>
              <a:ext cx="1751480" cy="1689979"/>
              <a:chOff x="2016284" y="1764942"/>
              <a:chExt cx="2238968" cy="1689979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16284" y="1764942"/>
                <a:ext cx="2238968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endPara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amine the incident </a:t>
                </a:r>
              </a:p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otification</a:t>
                </a:r>
              </a:p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16284" y="2284489"/>
                <a:ext cx="2238968" cy="117043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Review the incident to get a high level  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nderstanding of the 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merging issues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6202113" y="770076"/>
              <a:ext cx="1751480" cy="1698404"/>
              <a:chOff x="3497729" y="1764942"/>
              <a:chExt cx="2089703" cy="1698404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97729" y="1764942"/>
                <a:ext cx="2089703" cy="52073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alyze the incident 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97729" y="2292914"/>
                <a:ext cx="2089703" cy="117043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amine the alerts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d the log anomalies </a:t>
                </a: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o identify root cause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3153550" y="1432535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+mn-lt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5606619" y="1432535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+mn-lt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46940D6-8000-7F73-E065-4BF4D04CC026}"/>
              </a:ext>
            </a:extLst>
          </p:cNvPr>
          <p:cNvGrpSpPr/>
          <p:nvPr/>
        </p:nvGrpSpPr>
        <p:grpSpPr>
          <a:xfrm>
            <a:off x="2469546" y="2649847"/>
            <a:ext cx="1751485" cy="1697216"/>
            <a:chOff x="2469545" y="2651889"/>
            <a:chExt cx="1751485" cy="16972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69545" y="2651889"/>
              <a:ext cx="1751483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x the problem and restore the service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69548" y="3178673"/>
              <a:ext cx="1751482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ecute the recommended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unbook and close out issue 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endParaRPr lang="en-GB" altLang="ja-JP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397A3C2-6F36-99A3-07A2-A907C5499291}"/>
              </a:ext>
            </a:extLst>
          </p:cNvPr>
          <p:cNvGrpSpPr/>
          <p:nvPr/>
        </p:nvGrpSpPr>
        <p:grpSpPr>
          <a:xfrm>
            <a:off x="4922971" y="2653466"/>
            <a:ext cx="1751483" cy="1689979"/>
            <a:chOff x="4922970" y="2647466"/>
            <a:chExt cx="1751483" cy="168997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0" y="2647466"/>
              <a:ext cx="1751483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view similar incident</a:t>
              </a:r>
              <a:b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commendations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3"/>
              <a:ext cx="1751482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derstand how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milar issues were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olved in the past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7303" y="3311712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786727" y="3046437"/>
            <a:ext cx="643701" cy="638762"/>
            <a:chOff x="6674454" y="2963172"/>
            <a:chExt cx="643701" cy="63876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3172"/>
              <a:ext cx="182880" cy="548640"/>
            </a:xfrm>
            <a:prstGeom prst="rect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7568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E66A62-4F95-0758-D11B-D903EBED50CD}"/>
              </a:ext>
            </a:extLst>
          </p:cNvPr>
          <p:cNvGrpSpPr/>
          <p:nvPr/>
        </p:nvGrpSpPr>
        <p:grpSpPr>
          <a:xfrm>
            <a:off x="715503" y="1337310"/>
            <a:ext cx="7712994" cy="2468880"/>
            <a:chOff x="774301" y="1338349"/>
            <a:chExt cx="7712994" cy="2468880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74301" y="1338349"/>
              <a:ext cx="7712994" cy="246888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028862F-E0B3-B52F-778B-CDA835AEEA43}"/>
                </a:ext>
              </a:extLst>
            </p:cNvPr>
            <p:cNvGrpSpPr/>
            <p:nvPr/>
          </p:nvGrpSpPr>
          <p:grpSpPr>
            <a:xfrm>
              <a:off x="975749" y="1557695"/>
              <a:ext cx="7310099" cy="2030189"/>
              <a:chOff x="972588" y="1556656"/>
              <a:chExt cx="7310099" cy="2030189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395EB06-F81F-B09A-A9D3-0BC3B293825C}"/>
                  </a:ext>
                </a:extLst>
              </p:cNvPr>
              <p:cNvGrpSpPr/>
              <p:nvPr/>
            </p:nvGrpSpPr>
            <p:grpSpPr>
              <a:xfrm>
                <a:off x="3443905" y="1556877"/>
                <a:ext cx="2368296" cy="2029968"/>
                <a:chOff x="3497580" y="1556877"/>
                <a:chExt cx="2368296" cy="2029968"/>
              </a:xfrm>
            </p:grpSpPr>
            <p:sp>
              <p:nvSpPr>
                <p:cNvPr id="19" name="Rectangle 3">
                  <a:extLst>
                    <a:ext uri="{FF2B5EF4-FFF2-40B4-BE49-F238E27FC236}">
                      <a16:creationId xmlns:a16="http://schemas.microsoft.com/office/drawing/2014/main" id="{73F44035-9D10-7247-9529-2BEE7AA078BB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3497580" y="1556877"/>
                  <a:ext cx="2368296" cy="202996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vent grouping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AD55C0D2-E77D-854F-8976-C1DEB6AB7678}"/>
                    </a:ext>
                  </a:extLst>
                </p:cNvPr>
                <p:cNvGrpSpPr/>
                <p:nvPr/>
              </p:nvGrpSpPr>
              <p:grpSpPr>
                <a:xfrm>
                  <a:off x="4041232" y="2166610"/>
                  <a:ext cx="1285288" cy="1245748"/>
                  <a:chOff x="1523824" y="3547319"/>
                  <a:chExt cx="1285288" cy="1245748"/>
                </a:xfrm>
              </p:grpSpPr>
              <p:sp>
                <p:nvSpPr>
                  <p:cNvPr id="20" name="Rectangle 3">
                    <a:extLst>
                      <a:ext uri="{FF2B5EF4-FFF2-40B4-BE49-F238E27FC236}">
                        <a16:creationId xmlns:a16="http://schemas.microsoft.com/office/drawing/2014/main" id="{7E9D7F50-8D03-E94B-9004-37FD0230508F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1523824" y="4224747"/>
                    <a:ext cx="1280160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vent</a:t>
                    </a:r>
                    <a:b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nalytics</a:t>
                    </a:r>
                  </a:p>
                </p:txBody>
              </p:sp>
              <p:sp>
                <p:nvSpPr>
                  <p:cNvPr id="21" name="Rectangle 3">
                    <a:extLst>
                      <a:ext uri="{FF2B5EF4-FFF2-40B4-BE49-F238E27FC236}">
                        <a16:creationId xmlns:a16="http://schemas.microsoft.com/office/drawing/2014/main" id="{FFEDE4F3-FAA3-AB41-9463-1E765DE36314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1528952" y="3547319"/>
                    <a:ext cx="1280160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vent</a:t>
                    </a:r>
                    <a:b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orrelation</a:t>
                    </a:r>
                  </a:p>
                </p:txBody>
              </p:sp>
            </p:grp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054B7CD6-E495-7E6B-59AE-C0ADAD3E121D}"/>
                  </a:ext>
                </a:extLst>
              </p:cNvPr>
              <p:cNvGrpSpPr/>
              <p:nvPr/>
            </p:nvGrpSpPr>
            <p:grpSpPr>
              <a:xfrm>
                <a:off x="972588" y="1556656"/>
                <a:ext cx="2369127" cy="2029968"/>
                <a:chOff x="972588" y="1556656"/>
                <a:chExt cx="2369127" cy="2029968"/>
              </a:xfrm>
            </p:grpSpPr>
            <p:sp>
              <p:nvSpPr>
                <p:cNvPr id="23" name="Rectangle 3">
                  <a:extLst>
                    <a:ext uri="{FF2B5EF4-FFF2-40B4-BE49-F238E27FC236}">
                      <a16:creationId xmlns:a16="http://schemas.microsoft.com/office/drawing/2014/main" id="{5FB19BC9-532E-9148-8FA8-32005DB6A0A0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972588" y="1556656"/>
                  <a:ext cx="2369127" cy="202996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cident analysis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2BB5EF44-383B-C509-E937-D3B3CB539757}"/>
                    </a:ext>
                  </a:extLst>
                </p:cNvPr>
                <p:cNvGrpSpPr/>
                <p:nvPr/>
              </p:nvGrpSpPr>
              <p:grpSpPr>
                <a:xfrm>
                  <a:off x="1110491" y="2166610"/>
                  <a:ext cx="2093321" cy="1215491"/>
                  <a:chOff x="1110491" y="2166610"/>
                  <a:chExt cx="2093321" cy="1215491"/>
                </a:xfrm>
              </p:grpSpPr>
              <p:sp>
                <p:nvSpPr>
                  <p:cNvPr id="24" name="Rectangle 3">
                    <a:extLst>
                      <a:ext uri="{FF2B5EF4-FFF2-40B4-BE49-F238E27FC236}">
                        <a16:creationId xmlns:a16="http://schemas.microsoft.com/office/drawing/2014/main" id="{E417BF05-2F03-2749-BA56-44BF41D60F82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2199141" y="2166610"/>
                    <a:ext cx="1004671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nomaly</a:t>
                    </a:r>
                    <a:b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etection</a:t>
                    </a:r>
                  </a:p>
                </p:txBody>
              </p:sp>
              <p:sp>
                <p:nvSpPr>
                  <p:cNvPr id="25" name="Rectangle 3">
                    <a:extLst>
                      <a:ext uri="{FF2B5EF4-FFF2-40B4-BE49-F238E27FC236}">
                        <a16:creationId xmlns:a16="http://schemas.microsoft.com/office/drawing/2014/main" id="{DED22FEF-22FA-5747-A9D5-E4BCFAF87B4C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7"/>
                    </p:custDataLst>
                  </p:nvPr>
                </p:nvSpPr>
                <p:spPr bwMode="auto">
                  <a:xfrm>
                    <a:off x="1110491" y="2166610"/>
                    <a:ext cx="1004671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 err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hatOps</a:t>
                    </a:r>
                    <a:b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ollaboration</a:t>
                    </a:r>
                  </a:p>
                </p:txBody>
              </p:sp>
              <p:sp>
                <p:nvSpPr>
                  <p:cNvPr id="30" name="Rectangle 3">
                    <a:extLst>
                      <a:ext uri="{FF2B5EF4-FFF2-40B4-BE49-F238E27FC236}">
                        <a16:creationId xmlns:a16="http://schemas.microsoft.com/office/drawing/2014/main" id="{AE683AE8-023C-9E47-977B-1190AB5008D3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8"/>
                    </p:custDataLst>
                  </p:nvPr>
                </p:nvSpPr>
                <p:spPr bwMode="auto">
                  <a:xfrm>
                    <a:off x="1654816" y="2813781"/>
                    <a:ext cx="1004671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Topology</a:t>
                    </a:r>
                    <a:b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nalytics</a:t>
                    </a:r>
                  </a:p>
                </p:txBody>
              </p:sp>
            </p:grp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0F5E7F6F-4AFC-D912-9B1E-FF10EC14B6F9}"/>
                  </a:ext>
                </a:extLst>
              </p:cNvPr>
              <p:cNvGrpSpPr/>
              <p:nvPr/>
            </p:nvGrpSpPr>
            <p:grpSpPr>
              <a:xfrm>
                <a:off x="5914391" y="1556656"/>
                <a:ext cx="2368296" cy="2029968"/>
                <a:chOff x="5914391" y="1556656"/>
                <a:chExt cx="2368296" cy="2029968"/>
              </a:xfrm>
            </p:grpSpPr>
            <p:sp>
              <p:nvSpPr>
                <p:cNvPr id="37" name="Rectangle 3">
                  <a:extLst>
                    <a:ext uri="{FF2B5EF4-FFF2-40B4-BE49-F238E27FC236}">
                      <a16:creationId xmlns:a16="http://schemas.microsoft.com/office/drawing/2014/main" id="{EFF1B789-DED8-2B4A-8926-B80605D2A396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5914391" y="1556656"/>
                  <a:ext cx="2368296" cy="202996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omated remediation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CCD31AB0-E54D-4F4A-8868-524082CFFCF1}"/>
                    </a:ext>
                  </a:extLst>
                </p:cNvPr>
                <p:cNvGrpSpPr/>
                <p:nvPr/>
              </p:nvGrpSpPr>
              <p:grpSpPr>
                <a:xfrm>
                  <a:off x="6462442" y="2166610"/>
                  <a:ext cx="1280646" cy="1215491"/>
                  <a:chOff x="1604858" y="3561092"/>
                  <a:chExt cx="1280646" cy="1215491"/>
                </a:xfrm>
              </p:grpSpPr>
              <p:sp>
                <p:nvSpPr>
                  <p:cNvPr id="39" name="Rectangle 3">
                    <a:extLst>
                      <a:ext uri="{FF2B5EF4-FFF2-40B4-BE49-F238E27FC236}">
                        <a16:creationId xmlns:a16="http://schemas.microsoft.com/office/drawing/2014/main" id="{8B7D1E53-15F6-4340-91D2-49F42903FD55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auto">
                  <a:xfrm>
                    <a:off x="1604858" y="4208263"/>
                    <a:ext cx="1280645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Runbooks</a:t>
                    </a:r>
                  </a:p>
                </p:txBody>
              </p:sp>
              <p:sp>
                <p:nvSpPr>
                  <p:cNvPr id="40" name="Rectangle 3">
                    <a:extLst>
                      <a:ext uri="{FF2B5EF4-FFF2-40B4-BE49-F238E27FC236}">
                        <a16:creationId xmlns:a16="http://schemas.microsoft.com/office/drawing/2014/main" id="{FF3B8B9B-D34C-A747-BBDF-DF245EF2A2DC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1604858" y="3561092"/>
                    <a:ext cx="1280646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Recommendation service</a:t>
                    </a: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75813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03121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active outage avoidance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active outage avoidance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0" y="1098245"/>
            <a:ext cx="6936759" cy="3239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7432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son AIOps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actively detects emerging application issue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s probable root causes of failures</a:t>
            </a:r>
          </a:p>
          <a:p>
            <a:pPr marL="800100" lvl="1" indent="-227013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s problem resolution 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omaly detec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application log and metric streams proactively draws attention of the SRE to emerging incidents enabling early intervention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correla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s derive probable cause of failures, accelerates determination of root cause and scope of impact on dependent service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 remedia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s runbooks to help resolve the issue or drive workflow to facilitate a collaborative resolution by offering prescriptive guidance.</a:t>
            </a:r>
          </a:p>
        </p:txBody>
      </p:sp>
    </p:spTree>
    <p:extLst>
      <p:ext uri="{BB962C8B-B14F-4D97-AF65-F5344CB8AC3E}">
        <p14:creationId xmlns:p14="http://schemas.microsoft.com/office/powerpoint/2010/main" val="1613978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12A69E1E-0D9F-FA89-E5A7-93E344B715F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360F883D-A028-3713-B535-9149E93C4EA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Ops: A path to reliability at cloud scal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AIOps?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cident management doesn’t have to be a headach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uce incident resolution time with AIOp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servability vs. APM vs. monitoring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34543</TotalTime>
  <Words>624</Words>
  <Application>Microsoft Macintosh PowerPoint</Application>
  <PresentationFormat>On-screen Show (16:9)</PresentationFormat>
  <Paragraphs>117</Paragraphs>
  <Slides>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45</cp:revision>
  <cp:lastPrinted>2019-04-25T15:14:05Z</cp:lastPrinted>
  <dcterms:created xsi:type="dcterms:W3CDTF">2022-03-29T18:01:01Z</dcterms:created>
  <dcterms:modified xsi:type="dcterms:W3CDTF">2022-06-24T20:54:26Z</dcterms:modified>
</cp:coreProperties>
</file>